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3"/>
    <p:sldMasterId id="2147483655" r:id="rId4"/>
    <p:sldMasterId id="2147483662" r:id="rId5"/>
  </p:sldMasterIdLst>
  <p:notesMasterIdLst>
    <p:notesMasterId r:id="rId7"/>
  </p:notesMasterIdLst>
  <p:sldIdLst>
    <p:sldId id="393" r:id="rId6"/>
    <p:sldId id="394" r:id="rId8"/>
    <p:sldId id="396" r:id="rId9"/>
    <p:sldId id="384" r:id="rId10"/>
    <p:sldId id="390" r:id="rId11"/>
    <p:sldId id="397" r:id="rId12"/>
    <p:sldId id="399" r:id="rId13"/>
    <p:sldId id="389" r:id="rId14"/>
    <p:sldId id="403" r:id="rId15"/>
    <p:sldId id="411" r:id="rId16"/>
    <p:sldId id="405" r:id="rId17"/>
    <p:sldId id="406" r:id="rId18"/>
    <p:sldId id="408" r:id="rId19"/>
    <p:sldId id="409" r:id="rId20"/>
    <p:sldId id="412" r:id="rId21"/>
    <p:sldId id="415" r:id="rId22"/>
    <p:sldId id="413" r:id="rId23"/>
    <p:sldId id="414" r:id="rId24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91" d="100"/>
          <a:sy n="91" d="100"/>
        </p:scale>
        <p:origin x="576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9" Type="http://schemas.openxmlformats.org/officeDocument/2006/relationships/tags" Target="tags/tag3.xml"/><Relationship Id="rId28" Type="http://schemas.openxmlformats.org/officeDocument/2006/relationships/commentAuthors" Target="commentAuthors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  <a:endParaRPr lang="zh-CN" altLang="en-US"/>
          </a:p>
          <a:p>
            <a:r>
              <a:rPr lang="zh-CN" altLang="en-US"/>
              <a:t>clip_fraction ：被截断的梯度比例，限制策略变化变化。</a:t>
            </a:r>
            <a:endParaRPr lang="zh-CN" altLang="en-US"/>
          </a:p>
          <a:p>
            <a:r>
              <a:rPr lang="zh-CN" altLang="en-US"/>
              <a:t>clip_range ：允许的策略更新范围，超参数</a:t>
            </a:r>
            <a:endParaRPr lang="zh-CN" altLang="en-US"/>
          </a:p>
          <a:p>
            <a:r>
              <a:rPr lang="zh-CN" altLang="en-US"/>
              <a:t>entropy_loss ：熵损失，熵越高策略随机性越大，逐渐确定最佳策略，理应逐渐下降。</a:t>
            </a:r>
            <a:endParaRPr lang="zh-CN" altLang="en-US"/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  <a:endParaRPr lang="zh-CN" altLang="en-US"/>
          </a:p>
          <a:p>
            <a:r>
              <a:rPr lang="zh-CN" altLang="en-US"/>
              <a:t>learning_rate：学习率，用于控制梯度更新的步长，超参数。</a:t>
            </a:r>
            <a:endParaRPr lang="zh-CN" altLang="en-US"/>
          </a:p>
          <a:p>
            <a:r>
              <a:rPr lang="zh-CN" altLang="en-US"/>
              <a:t>总体损失函数值</a:t>
            </a:r>
            <a:endParaRPr lang="zh-CN" altLang="en-US"/>
          </a:p>
          <a:p>
            <a:r>
              <a:rPr lang="zh-CN" altLang="en-US"/>
              <a:t>策略梯度损失</a:t>
            </a:r>
            <a:endParaRPr lang="zh-CN" altLang="en-US"/>
          </a:p>
          <a:p>
            <a:r>
              <a:rPr lang="zh-CN" altLang="en-US"/>
              <a:t>价值损失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  <a:endParaRPr lang="zh-CN" altLang="en-US" b="1" dirty="0">
              <a:solidFill>
                <a:srgbClr val="000000"/>
              </a:solidFill>
              <a:latin typeface="BMW Group Condensed"/>
            </a:endParaRP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9.png"/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5.png"/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2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6" Type="http://schemas.openxmlformats.org/officeDocument/2006/relationships/image" Target="../media/image17.png"/><Relationship Id="rId5" Type="http://schemas.openxmlformats.org/officeDocument/2006/relationships/image" Target="../media/image32.png"/><Relationship Id="rId4" Type="http://schemas.openxmlformats.org/officeDocument/2006/relationships/image" Target="../media/image15.png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  <a:endParaRPr lang="en-US" altLang="zh-CN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  <a:endParaRPr lang="zh-CN" altLang="en-US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de-DE" dirty="0"/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  <a:endParaRPr lang="zh-CN" altLang="en-US" dirty="0"/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  <a:endParaRPr kumimoji="0" lang="zh-CN" altLang="en-US" sz="264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  <a:endParaRPr lang="zh-CN" altLang="en-US" dirty="0"/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  <a:endParaRPr kumimoji="0" lang="zh-CN" altLang="en-US" sz="312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endParaRPr lang="zh-CN" altLang="en-US" dirty="0"/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  <a:endParaRPr lang="zh-CN" altLang="en-US" dirty="0"/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  <a:endParaRPr lang="zh-CN" altLang="en-US" dirty="0"/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  <a:p>
            <a:pPr lvl="1"/>
            <a:r>
              <a:rPr lang="en-US" altLang="zh-SG" dirty="0"/>
              <a:t>Second level</a:t>
            </a:r>
            <a:endParaRPr lang="en-US" altLang="zh-SG" dirty="0"/>
          </a:p>
          <a:p>
            <a:pPr lvl="2"/>
            <a:r>
              <a:rPr lang="en-US" altLang="zh-SG" dirty="0"/>
              <a:t>Third level</a:t>
            </a:r>
            <a:endParaRPr lang="en-US" altLang="zh-SG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  <a:endParaRPr lang="zh-CN" altLang="en-US" dirty="0"/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image" Target="../media/image6.jpeg"/><Relationship Id="rId7" Type="http://schemas.microsoft.com/office/2007/relationships/hdphoto" Target="../media/image5.wdp"/><Relationship Id="rId6" Type="http://schemas.openxmlformats.org/officeDocument/2006/relationships/image" Target="../media/image4.png"/><Relationship Id="rId5" Type="http://schemas.openxmlformats.org/officeDocument/2006/relationships/tags" Target="../tags/tag1.xml"/><Relationship Id="rId4" Type="http://schemas.microsoft.com/office/2007/relationships/hdphoto" Target="../media/image3.wdp"/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4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8" Type="http://schemas.microsoft.com/office/2007/relationships/hdphoto" Target="../media/image3.wdp"/><Relationship Id="rId7" Type="http://schemas.openxmlformats.org/officeDocument/2006/relationships/image" Target="../media/image2.png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7" Type="http://schemas.openxmlformats.org/officeDocument/2006/relationships/theme" Target="../theme/theme4.xml"/><Relationship Id="rId26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>
            <a:alphaModFix amt="47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7">
            <a:alphaModFix amt="8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55.png"/><Relationship Id="rId3" Type="http://schemas.microsoft.com/office/2007/relationships/media" Target="../media/media1.mp4"/><Relationship Id="rId2" Type="http://schemas.openxmlformats.org/officeDocument/2006/relationships/video" Target="../media/media1.mp4"/><Relationship Id="rId1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8.xml"/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48.png"/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/>
              <a:t>组会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  <a:endParaRPr lang="zh-CN" altLang="en-US"/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  <a:endParaRPr lang="zh-CN" altLang="en-US" sz="24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  <a:endParaRPr lang="en-US" altLang="zh-CN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、本周任务（</a:t>
            </a:r>
            <a:r>
              <a:rPr lang="en-US" altLang="zh-CN" dirty="0"/>
              <a:t>11.15-11.21</a:t>
            </a:r>
            <a:r>
              <a:rPr lang="zh-CN" altLang="en-US" dirty="0">
                <a:ea typeface="宋体" panose="02010600030101010101" pitchFamily="2" charset="-122"/>
              </a:rPr>
              <a:t>）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>
          <a:xfrm>
            <a:off x="222736" y="2261569"/>
            <a:ext cx="11335808" cy="865539"/>
          </a:xfrm>
        </p:spPr>
        <p:txBody>
          <a:bodyPr/>
          <a:lstStyle/>
          <a:p>
            <a:pPr marL="0" defTabSz="914400"/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单智能体强化学习代码进一步修改，训练模型。</a:t>
            </a: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zh-CN" altLang="en-US" sz="2800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/>
          <p:cNvCxnSpPr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/>
          <p:cNvCxnSpPr/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307248" y="1433667"/>
            <a:ext cx="4884751" cy="140519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较低的车速会得到负奖励，尽量避免低速。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418567" y="4625725"/>
            <a:ext cx="4178300" cy="95725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  <a:endParaRPr lang="zh-CN" altLang="en-US" sz="20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2736" y="2766797"/>
            <a:ext cx="6634329" cy="2823915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519702" y="1767365"/>
            <a:ext cx="4572000" cy="457200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450750" y="1525207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  <a:endParaRPr lang="en-US" altLang="zh-CN" sz="24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  <a:endParaRPr lang="zh-CN" altLang="en-US" sz="24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  <a:endParaRPr lang="zh-CN" altLang="en-US" sz="3200" b="1"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  <a:endParaRPr lang="zh-CN" altLang="en-US" sz="32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  <a:endParaRPr lang="zh-CN" altLang="en-US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  <a:endParaRPr lang="zh-CN" altLang="en-US"/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  <a:endParaRPr lang="zh-CN" altLang="en-US" sz="200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1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/>
          <p:nvPr/>
        </p:nvPicPr>
        <p:blipFill>
          <a:blip r:embed="rId2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3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2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p="http://schemas.openxmlformats.org/presentationml/2006/main">
  <p:tag name="COMMONDATA" val="eyJoZGlkIjoiMzcyODMxYTE0ZTc0ZGU3Y2QwODc3MzYzN2Q1YmNiM2EifQ==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70</Words>
  <Application>WPS 演示</Application>
  <PresentationFormat>宽屏</PresentationFormat>
  <Paragraphs>173</Paragraphs>
  <Slides>18</Slides>
  <Notes>8</Notes>
  <HiddenSlides>0</HiddenSlides>
  <MMClips>1</MMClips>
  <ScaleCrop>false</ScaleCrop>
  <HeadingPairs>
    <vt:vector size="6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8</vt:i4>
      </vt:variant>
    </vt:vector>
  </HeadingPairs>
  <TitlesOfParts>
    <vt:vector size="43" baseType="lpstr">
      <vt:lpstr>Arial</vt:lpstr>
      <vt:lpstr>宋体</vt:lpstr>
      <vt:lpstr>Wingdings</vt:lpstr>
      <vt:lpstr>BMW Group Condensed</vt:lpstr>
      <vt:lpstr>Symbol</vt:lpstr>
      <vt:lpstr>Wingdings 2</vt:lpstr>
      <vt:lpstr>微软雅黑</vt:lpstr>
      <vt:lpstr>Wingdings</vt:lpstr>
      <vt:lpstr>Arial</vt:lpstr>
      <vt:lpstr>Wingdings 3</vt:lpstr>
      <vt:lpstr>Wingdings 2</vt:lpstr>
      <vt:lpstr>Times New Roman</vt:lpstr>
      <vt:lpstr>BMW Group Condensed</vt:lpstr>
      <vt:lpstr>Impact</vt:lpstr>
      <vt:lpstr>BMW Group</vt:lpstr>
      <vt:lpstr>黑体</vt:lpstr>
      <vt:lpstr>Calibri</vt:lpstr>
      <vt:lpstr>Arial Unicode MS</vt:lpstr>
      <vt:lpstr>等线</vt:lpstr>
      <vt:lpstr>等线 Light</vt:lpstr>
      <vt:lpstr>AMGDT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一、本周任务（11.15-11.21）</vt:lpstr>
      <vt:lpstr>二、完成情况</vt:lpstr>
      <vt:lpstr>二、完成情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WPS_1657452678</cp:lastModifiedBy>
  <cp:revision>34</cp:revision>
  <dcterms:created xsi:type="dcterms:W3CDTF">2023-11-15T12:07:00Z</dcterms:created>
  <dcterms:modified xsi:type="dcterms:W3CDTF">2024-11-19T07:2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